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7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BE41C-8415-4821-37EA-F712E7CB27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4E94F2-4799-0988-8D1C-81F4B6B12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4E94F2-4799-0988-8D1C-81F4B6B12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itle 1">
            <a:extLst>
              <a:ext uri="{FF2B5EF4-FFF2-40B4-BE49-F238E27FC236}">
                <a16:creationId xmlns:a16="http://schemas.microsoft.com/office/drawing/2014/main" id="{06F40F2D-59C7-EC34-659A-2F5671679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3925" cy="779462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ircle</a:t>
            </a:r>
            <a:endParaRPr lang="en-IN" dirty="0"/>
          </a:p>
        </p:txBody>
      </p:sp>
      <p:sp>
        <p:nvSpPr>
          <p:cNvPr id="76" name="Slide Number Placeholder 75">
            <a:extLst>
              <a:ext uri="{FF2B5EF4-FFF2-40B4-BE49-F238E27FC236}">
                <a16:creationId xmlns:a16="http://schemas.microsoft.com/office/drawing/2014/main" id="{B69A3D0E-51C8-6524-C412-DC5A8CC37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/>
          <a:lstStyle/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E679FC8D-0A05-C9B8-AA6F-7E4D6CE1FE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46AE0176-0BF4-B9F9-A361-73BC43E532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51837" y="1304925"/>
            <a:ext cx="3286125" cy="363538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6" name="Text Placeholder 21">
            <a:extLst>
              <a:ext uri="{FF2B5EF4-FFF2-40B4-BE49-F238E27FC236}">
                <a16:creationId xmlns:a16="http://schemas.microsoft.com/office/drawing/2014/main" id="{D3DE8B9B-4782-C783-8602-5EF419E194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sp>
        <p:nvSpPr>
          <p:cNvPr id="67" name="Text Placeholder 8">
            <a:extLst>
              <a:ext uri="{FF2B5EF4-FFF2-40B4-BE49-F238E27FC236}">
                <a16:creationId xmlns:a16="http://schemas.microsoft.com/office/drawing/2014/main" id="{2A45F378-6C21-1986-4989-2AF38FE3B0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1837" y="3917950"/>
            <a:ext cx="3286125" cy="365125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A3D099C9-3B58-373B-0849-4B024337639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6BED71FA-EFDA-B0D5-13ED-2D30DB9923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835473A2-BDB7-464A-0491-91E7F6A17BB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C9A97833-5218-758B-4F26-11878DEA470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4037" y="3917950"/>
            <a:ext cx="3286125" cy="365125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E60A9EB1-DD1B-A236-9F30-CA065D233E2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</a:p>
        </p:txBody>
      </p:sp>
      <p:pic>
        <p:nvPicPr>
          <p:cNvPr id="78" name="Shape1_20250711_042939">
            <a:extLst>
              <a:ext uri="{FF2B5EF4-FFF2-40B4-BE49-F238E27FC236}">
                <a16:creationId xmlns:a16="http://schemas.microsoft.com/office/drawing/2014/main" id="{1E603F2F-90E4-DCE5-E01A-BCCCC8CC80F9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/>
        </p:blipFill>
        <p:spPr>
          <a:xfrm>
            <a:off x="7015954" y="2471531"/>
            <a:ext cx="565150" cy="566738"/>
          </a:xfrm>
        </p:spPr>
      </p:pic>
      <p:pic>
        <p:nvPicPr>
          <p:cNvPr id="80" name="Shape2_20250711_042939">
            <a:extLst>
              <a:ext uri="{FF2B5EF4-FFF2-40B4-BE49-F238E27FC236}">
                <a16:creationId xmlns:a16="http://schemas.microsoft.com/office/drawing/2014/main" id="{04E6AA01-4D09-F08D-7899-0D7F9130F1FA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/>
        </p:blipFill>
        <p:spPr>
          <a:xfrm>
            <a:off x="6771330" y="4475047"/>
            <a:ext cx="565150" cy="566738"/>
          </a:xfrm>
        </p:spPr>
      </p:pic>
      <p:pic>
        <p:nvPicPr>
          <p:cNvPr id="82" name="Shape3_20250711_042939">
            <a:extLst>
              <a:ext uri="{FF2B5EF4-FFF2-40B4-BE49-F238E27FC236}">
                <a16:creationId xmlns:a16="http://schemas.microsoft.com/office/drawing/2014/main" id="{B1BC9087-D251-4915-CDE6-7F00811C08A7}"/>
              </a:ext>
            </a:extLst>
          </p:cNvPr>
          <p:cNvPicPr>
            <a:picLocks noGrp="1" noChangeAspect="1"/>
          </p:cNvPicPr>
          <p:nvPr>
            <p:ph type="pic" sz="quarter" idx="36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/>
        </p:blipFill>
        <p:spPr>
          <a:xfrm>
            <a:off x="4606264" y="4206658"/>
            <a:ext cx="565150" cy="566738"/>
          </a:xfrm>
        </p:spPr>
      </p:pic>
      <p:pic>
        <p:nvPicPr>
          <p:cNvPr id="85" name="Shape0_20250711_042939">
            <a:extLst>
              <a:ext uri="{FF2B5EF4-FFF2-40B4-BE49-F238E27FC236}">
                <a16:creationId xmlns:a16="http://schemas.microsoft.com/office/drawing/2014/main" id="{14E0CF8E-2F95-3395-7E85-7CF8D7157A64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0" r="140"/>
          <a:stretch/>
        </p:blipFill>
        <p:spPr>
          <a:xfrm>
            <a:off x="4888839" y="2145548"/>
            <a:ext cx="565150" cy="566738"/>
          </a:xfrm>
        </p:spPr>
      </p:pic>
      <p:sp>
        <p:nvSpPr>
          <p:cNvPr id="87" name="Text Placeholder 21">
            <a:extLst>
              <a:ext uri="{FF2B5EF4-FFF2-40B4-BE49-F238E27FC236}">
                <a16:creationId xmlns:a16="http://schemas.microsoft.com/office/drawing/2014/main" id="{D827F50D-F1ED-E102-45F6-9E458496437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54623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8</TotalTime>
  <Words>88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38</cp:revision>
  <dcterms:created xsi:type="dcterms:W3CDTF">2025-07-09T10:57:17Z</dcterms:created>
  <dcterms:modified xsi:type="dcterms:W3CDTF">2025-10-22T09:41:19Z</dcterms:modified>
  <cp:category/>
</cp:coreProperties>
</file>